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2.xml" ContentType="application/vnd.openxmlformats-officedocument.presentationml.notesSlide+xml"/>
  <Override PartName="/ppt/tags/tag102.xml" ContentType="application/vnd.openxmlformats-officedocument.presentationml.tags+xml"/>
  <Override PartName="/ppt/notesSlides/notesSlide1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9.xml" ContentType="application/vnd.openxmlformats-officedocument.presentationml.notesSlide+xml"/>
  <Override PartName="/ppt/tags/tag119.xml" ContentType="application/vnd.openxmlformats-officedocument.presentationml.tags+xml"/>
  <Override PartName="/ppt/notesSlides/notesSlide20.xml" ContentType="application/vnd.openxmlformats-officedocument.presentationml.notesSlide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5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tags/tag157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06" autoAdjust="0"/>
    <p:restoredTop sz="93826" autoAdjust="0"/>
  </p:normalViewPr>
  <p:slideViewPr>
    <p:cSldViewPr snapToGrid="0">
      <p:cViewPr varScale="1">
        <p:scale>
          <a:sx n="103" d="100"/>
          <a:sy n="103" d="100"/>
        </p:scale>
        <p:origin x="1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21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302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575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39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unit tests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49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403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output console in notebook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6084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285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 (switch to partition function graph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 (switch to singular value plots in notebook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4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165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402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mia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h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21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21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21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21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21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10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8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02.png"/><Relationship Id="rId3" Type="http://schemas.openxmlformats.org/officeDocument/2006/relationships/tags" Target="../tags/tag11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01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0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9.png"/><Relationship Id="rId4" Type="http://schemas.openxmlformats.org/officeDocument/2006/relationships/tags" Target="../tags/tag113.xml"/><Relationship Id="rId9" Type="http://schemas.openxmlformats.org/officeDocument/2006/relationships/image" Target="../media/image9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png"/><Relationship Id="rId12" Type="http://schemas.openxmlformats.org/officeDocument/2006/relationships/image" Target="../media/image107.sv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.emf"/><Relationship Id="rId26" Type="http://schemas.openxmlformats.org/officeDocument/2006/relationships/image" Target="../media/image125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24.png"/><Relationship Id="rId2" Type="http://schemas.openxmlformats.org/officeDocument/2006/relationships/tags" Target="../tags/tag128.xml"/><Relationship Id="rId16" Type="http://schemas.openxmlformats.org/officeDocument/2006/relationships/notesSlide" Target="../notesSlides/notesSlide23.xml"/><Relationship Id="rId20" Type="http://schemas.openxmlformats.org/officeDocument/2006/relationships/image" Target="../media/image121.png"/><Relationship Id="rId29" Type="http://schemas.openxmlformats.org/officeDocument/2006/relationships/image" Target="../media/image128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3.png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4.png"/><Relationship Id="rId28" Type="http://schemas.openxmlformats.org/officeDocument/2006/relationships/image" Target="../media/image127.png"/><Relationship Id="rId10" Type="http://schemas.openxmlformats.org/officeDocument/2006/relationships/tags" Target="../tags/tag136.xml"/><Relationship Id="rId19" Type="http://schemas.openxmlformats.org/officeDocument/2006/relationships/image" Target="../media/image120.png"/><Relationship Id="rId31" Type="http://schemas.openxmlformats.org/officeDocument/2006/relationships/image" Target="../media/image130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2.png"/><Relationship Id="rId27" Type="http://schemas.openxmlformats.org/officeDocument/2006/relationships/image" Target="../media/image126.png"/><Relationship Id="rId30" Type="http://schemas.openxmlformats.org/officeDocument/2006/relationships/image" Target="../media/image1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2.png"/><Relationship Id="rId3" Type="http://schemas.openxmlformats.org/officeDocument/2006/relationships/tags" Target="../tags/tag143.xml"/><Relationship Id="rId7" Type="http://schemas.openxmlformats.org/officeDocument/2006/relationships/notesSlide" Target="../notesSlides/notesSlide24.xml"/><Relationship Id="rId12" Type="http://schemas.openxmlformats.org/officeDocument/2006/relationships/image" Target="../media/image131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5.xml"/><Relationship Id="rId10" Type="http://schemas.openxmlformats.org/officeDocument/2006/relationships/image" Target="../media/image70.png"/><Relationship Id="rId4" Type="http://schemas.openxmlformats.org/officeDocument/2006/relationships/tags" Target="../tags/tag144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13" Type="http://schemas.openxmlformats.org/officeDocument/2006/relationships/image" Target="../media/image33.png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3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image" Target="../media/image17.png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0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hyperlink" Target="https://doi.org/10.1103/PhysRevB.102.035147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X.8.031082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7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67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676576" y="0"/>
            <a:ext cx="2515424" cy="3133968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168168" y="6170238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s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4164" y="204870"/>
            <a:ext cx="10079699" cy="174641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Exponential Tensor Network Renormalization Group (XTRG)</a:t>
            </a:r>
            <a:endParaRPr lang="en-US" sz="48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  <p:transition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5"/>
            <a:ext cx="8517967" cy="11759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16" grpId="0"/>
      <p:bldP spid="17" grpId="0"/>
      <p:bldP spid="30" grpId="0"/>
      <p:bldP spid="31" grpId="0"/>
      <p:bldP spid="48" grpId="0"/>
      <p:bldP spid="4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33" grpId="0"/>
      <p:bldP spid="52" grpId="0"/>
      <p:bldP spid="104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/>
      <p:bldP spid="20" grpId="0" animBg="1"/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7F9E6B6-9A19-B3B4-1A92-618DE5EB5F8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  <p:transition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9" grpId="0"/>
      <p:bldP spid="14" grpId="0"/>
      <p:bldP spid="19" grpId="0"/>
      <p:bldP spid="20" grpId="0"/>
      <p:bldP spid="21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  <p:transition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  <p:transition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  <p:transition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  <p:transition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  <p:transition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  <p:transition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4" grpId="0"/>
      <p:bldP spid="23" grpId="0"/>
      <p:bldP spid="29" grpId="0"/>
      <p:bldP spid="30" grpId="0"/>
      <p:bldP spid="31" grpId="0"/>
      <p:bldP spid="32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60" grpId="0"/>
      <p:bldP spid="61" grpId="0" animBg="1"/>
      <p:bldP spid="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  <p:transition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27" t="29263" r="1363" b="-701"/>
          <a:stretch>
            <a:fillRect/>
          </a:stretch>
        </p:blipFill>
        <p:spPr>
          <a:xfrm>
            <a:off x="4315968" y="2608908"/>
            <a:ext cx="5614416" cy="292313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510" y="203203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791968" y="93510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1230407" y="875212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4388" y="886561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CC962E-86C9-DAB1-02E4-4EB09FF37D3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/>
      <p:bldP spid="22" grpId="0"/>
      <p:bldP spid="24" grpId="0" animBg="1"/>
      <p:bldP spid="25" grpId="0"/>
      <p:bldP spid="29" grpId="0" animBg="1"/>
      <p:bldP spid="30" grpId="0"/>
      <p:bldP spid="36" grpId="0" animBg="1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79EF555-C613-40AF-4261-38BF66BFC36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7" grpId="0"/>
      <p:bldP spid="21" grpId="0"/>
      <p:bldP spid="22" grpId="0"/>
      <p:bldP spid="30" grpId="0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6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9" imgH="478" progId="TCLayout.ActiveDocument.1">
                  <p:embed/>
                </p:oleObj>
              </mc:Choice>
              <mc:Fallback>
                <p:oleObj name="think-cell Slide" r:id="rId1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aph of a function&#10;&#10;AI-generated content may be incorrect.">
            <a:extLst>
              <a:ext uri="{FF2B5EF4-FFF2-40B4-BE49-F238E27FC236}">
                <a16:creationId xmlns:a16="http://schemas.microsoft.com/office/drawing/2014/main" id="{D0592AB0-C22D-913E-FA4D-BDD6C15417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356" y="2523744"/>
            <a:ext cx="5724507" cy="3577817"/>
          </a:xfrm>
          <a:prstGeom prst="rect">
            <a:avLst/>
          </a:prstGeom>
        </p:spPr>
      </p:pic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636601" y="5308329"/>
            <a:ext cx="1113472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78790" y="4365491"/>
            <a:ext cx="4689758" cy="24868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ell with the analytical prediction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The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- afterwards convergence checks become too costly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ithin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28</a:t>
            </a:r>
            <a:r>
              <a:rPr lang="en-US" sz="2000" baseline="30000" dirty="0">
                <a:latin typeface="Bahnschrift SemiCondensed" panose="020B0502040204020203" pitchFamily="34" charset="0"/>
              </a:rPr>
              <a:t>th</a:t>
            </a:r>
            <a:r>
              <a:rPr lang="en-US" sz="2000" dirty="0">
                <a:latin typeface="Bahnschrift SemiCondensed" panose="020B0502040204020203" pitchFamily="34" charset="0"/>
              </a:rPr>
              <a:t> step, </a:t>
            </a:r>
            <a:r>
              <a:rPr lang="en-US" sz="2000" noProof="0" dirty="0">
                <a:latin typeface="Bahnschrift SemiCondensed" panose="020B0502040204020203" pitchFamily="34" charset="0"/>
              </a:rPr>
              <a:t>the value of the partition function exceeds the maximal representable float in double precision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7 steps, i.e., up to    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037" y="1633142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3202" y="1640703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76250" y="2847938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78790" y="2172634"/>
            <a:ext cx="3749727" cy="2029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960" y="2196501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690" y="2675859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984" y="3378299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947" y="3485900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83" y="3815992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241" y="4426444"/>
            <a:ext cx="169143" cy="17219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98" y="3067683"/>
            <a:ext cx="1685333" cy="245333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\beta = 2^{27} \beta_0 \approx 130&#10;$&#10;&#10;\end{document}" title="IguanaTex Bitmap Display">
            <a:extLst>
              <a:ext uri="{FF2B5EF4-FFF2-40B4-BE49-F238E27FC236}">
                <a16:creationId xmlns:a16="http://schemas.microsoft.com/office/drawing/2014/main" id="{65B93AF5-3033-0895-0D7B-A1A981FCCD2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043" y="1602303"/>
            <a:ext cx="1792000" cy="260571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29D81A6C-F5EE-8282-8819-F1D2391BE73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981" y="5537521"/>
            <a:ext cx="245183" cy="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0" grpId="0"/>
      <p:bldP spid="31" grpId="0"/>
      <p:bldP spid="3" grpId="0"/>
      <p:bldP spid="33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570685" y="1374557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243963" y="1440611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997" y="1502757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570685" y="264227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556280" y="5177711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243963" y="2604537"/>
            <a:ext cx="3766273" cy="2154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that this is indeed the case! Also, we observe that some of the singular values become degenerate in the low-temperature regi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399" y="3247618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243963" y="4919577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460" y="5560547"/>
            <a:ext cx="140190" cy="228571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855" y="5253835"/>
            <a:ext cx="990476" cy="254476"/>
          </a:xfrm>
          <a:prstGeom prst="rect">
            <a:avLst/>
          </a:prstGeom>
        </p:spPr>
      </p:pic>
      <p:pic>
        <p:nvPicPr>
          <p:cNvPr id="8" name="Picture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9950F2F-2D5C-37E5-4791-8839704004E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36" y="2443641"/>
            <a:ext cx="5935214" cy="370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12" grpId="0"/>
      <p:bldP spid="13" grpId="0"/>
      <p:bldP spid="14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529528"/>
            <a:ext cx="1376540" cy="42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405635" y="5089819"/>
            <a:ext cx="8744718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How can we verify convergence of the XTRG update with respect to the previous step in the low-temperature regime? This would be required to assess the quality of computation results for models where no analytical solution is known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511802"/>
            <a:ext cx="1505220" cy="1011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alitative estim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86281" y="2482238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Low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699" y="2484606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766" y="2923162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534606" y="388406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431982" y="3632627"/>
            <a:ext cx="8839494" cy="1150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7 steps        Order of runtime = 1 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ever, the check of convergence in the Frobenius norm becomes too costly at around step 23, but the results still coincide with the analytical prediction.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126156" y="3632628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9" y="3760783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859288" y="5138652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pen 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9" name="Picture 8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06DBE656-5416-E291-1B9D-76912AAFFF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36" y="1416976"/>
            <a:ext cx="2847999" cy="324571"/>
          </a:xfrm>
          <a:prstGeom prst="rect">
            <a:avLst/>
          </a:prstGeom>
        </p:spPr>
      </p:pic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ACAFADF0-36D8-7DC1-A559-D1375F4B15BC}"/>
              </a:ext>
            </a:extLst>
          </p:cNvPr>
          <p:cNvSpPr txBox="1">
            <a:spLocks/>
          </p:cNvSpPr>
          <p:nvPr/>
        </p:nvSpPr>
        <p:spPr>
          <a:xfrm>
            <a:off x="2365207" y="1416976"/>
            <a:ext cx="8839494" cy="9235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evaluation of                                                   becomes numerically intractable when the bond dimension of 	  increases exponentially in the low temperature regime.</a:t>
            </a:r>
          </a:p>
        </p:txBody>
      </p:sp>
      <p:pic>
        <p:nvPicPr>
          <p:cNvPr id="13" name="Picture 12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005ECBF4-ADCC-967C-E925-EBF8109728A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508" y="1698189"/>
            <a:ext cx="559238" cy="26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35" grpId="0"/>
      <p:bldP spid="36" grpId="0"/>
      <p:bldP spid="8" grpId="0"/>
      <p:bldP spid="15" grpId="0"/>
      <p:bldP spid="17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761962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070854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83759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734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8"/>
            <a:ext cx="5448337" cy="451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14134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032517"/>
            <a:ext cx="5602499" cy="1527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 to check convergence?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6" name="Picture 5" descr="A graph of a function&#10;&#10;AI-generated content may be incorrect.">
            <a:extLst>
              <a:ext uri="{FF2B5EF4-FFF2-40B4-BE49-F238E27FC236}">
                <a16:creationId xmlns:a16="http://schemas.microsoft.com/office/drawing/2014/main" id="{1E7EC78D-AFDC-5E01-D081-878DD231E1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09" y="4126884"/>
            <a:ext cx="4119307" cy="257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26" grpId="0"/>
      <p:bldP spid="27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7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  <p:transition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AAA668A-BB8B-AE53-203B-6DCA0FE66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0945" y="4272015"/>
            <a:ext cx="479163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0" grpId="0"/>
      <p:bldP spid="11" grpId="0"/>
      <p:bldP spid="19" grpId="0"/>
      <p:bldP spid="20" grpId="0"/>
      <p:bldP spid="21" grpId="0"/>
      <p:bldP spid="22" grpId="0"/>
      <p:bldP spid="30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126B2A3-4FA3-0555-5871-D0A44AFD8F94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" grpId="0"/>
      <p:bldP spid="6" grpId="0"/>
      <p:bldP spid="7" grpId="0"/>
      <p:bldP spid="10" grpId="0"/>
      <p:bldP spid="31" grpId="0"/>
      <p:bldP spid="38" grpId="0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336043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94491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9" grpId="0"/>
      <p:bldP spid="10" grpId="0"/>
      <p:bldP spid="51" grpId="0"/>
      <p:bldP spid="70" grpId="0"/>
      <p:bldP spid="71" grpId="0"/>
      <p:bldP spid="7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6" grpId="0"/>
      <p:bldP spid="10" grpId="0"/>
      <p:bldP spid="11" grpId="0"/>
      <p:bldP spid="13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8965721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2" y="4752739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9" grpId="0"/>
      <p:bldP spid="30" grpId="0"/>
      <p:bldP spid="3" grpId="0"/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.2339"/>
  <p:tag name="ORIGINALWIDTH" val="881.8898"/>
  <p:tag name="LATEXADDIN" val="\documentclass{article}&#10;\usepackage{amsmath, amsfonts, amssymb, xcolor}&#10;\pagestyle{empty}&#10;\fontfamily{BahnschriftSemiCondensed}&#10;&#10;\begin{document}&#10;&#10;$&#10;\beta = 2^{27} \beta_0 \approx 130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6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2</Words>
  <Application>Microsoft Office PowerPoint</Application>
  <PresentationFormat>Widescreen</PresentationFormat>
  <Paragraphs>304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Exponenti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70</cp:revision>
  <dcterms:created xsi:type="dcterms:W3CDTF">2025-07-18T13:05:37Z</dcterms:created>
  <dcterms:modified xsi:type="dcterms:W3CDTF">2025-07-21T11:34:11Z</dcterms:modified>
</cp:coreProperties>
</file>